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7.xml" ContentType="application/vnd.openxmlformats-officedocument.presentationml.tags+xml"/>
  <Override PartName="/docProps/app.xml" ContentType="application/vnd.openxmlformats-officedocument.extended-propertie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docMetadata/LabelInfo.xml" ContentType="application/vnd.ms-office.classificationlabel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2147478611" r:id="rId3"/>
    <p:sldId id="2147479450" r:id="rId4"/>
    <p:sldId id="2147477200" r:id="rId5"/>
    <p:sldId id="2147479424" r:id="rId6"/>
    <p:sldId id="2147479451" r:id="rId7"/>
    <p:sldId id="214747944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A6B96-C4DA-4B6A-8144-C89619D1BA18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EF0E83-7803-4DA9-A142-9AF503C165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509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227D6E-DAB9-4D41-B02B-B6CE059A30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532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68937-90BB-584F-FDBB-EF6ABFAF88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BADF50-1DC6-A918-084D-8DD105212E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1CFC68-7A81-67A3-8F5B-699F0DBC7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66220-A838-01F0-50E9-254A88095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0D2671-6C5C-3972-693A-E928E210D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26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D0B8F-9740-2AA3-EAD0-B594DD827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E01F2B-6387-5114-7554-D49F82D44D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C64A3-B0FD-64A3-BBEB-934CF6947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059A1C-F957-8986-C2F9-F033DE9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53FD62-B246-30DA-8BEF-E7DC872E3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0484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5B379E-B2DB-6673-CD1E-3C317EEDCC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87AC30-0EEF-C04E-DF4D-EDDE5524C4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D2876E-2B4A-F789-C9F8-6D079D6223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79E117-6278-20A9-C922-2AE576C2D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A6D4B3-270D-2343-563A-2CAB1B11D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6164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C07EACE2-69B6-4373-9CD4-B2A944D2649F}" type="datetimeFigureOut">
              <a:rPr lang="en-US" smtClean="0"/>
              <a:t>11/1/2024</a:t>
            </a:fld>
            <a:endParaRPr lang="en-US"/>
          </a:p>
        </p:txBody>
      </p:sp>
      <p:pic>
        <p:nvPicPr>
          <p:cNvPr id="8" name="Graphic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512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C07EACE2-69B6-4373-9CD4-B2A944D2649F}" type="datetimeFigureOut">
              <a:rPr lang="en-US" smtClean="0"/>
              <a:t>11/1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829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C07EACE2-69B6-4373-9CD4-B2A944D2649F}" type="datetimeFigureOut">
              <a:rPr lang="en-US" smtClean="0"/>
              <a:t>11/1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846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fld id="{C07EACE2-69B6-4373-9CD4-B2A944D2649F}" type="datetimeFigureOut">
              <a:rPr lang="en-US" smtClean="0"/>
              <a:t>11/1/2024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930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50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5096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491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3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AD409-AA5B-87E0-2163-E6DED840E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1F48EE-4977-6089-6B15-1D39B7845D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5B352B-8C01-CCD9-D6AA-BB006B8CAA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55887-5950-C3E5-8D8C-9EE1E12DB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526BDB-877E-637C-27A3-40E3F24C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951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674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1233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1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25369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674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24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440588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905929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13202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148475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71649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F20DC-8FBD-E3E0-B4FC-8BE568577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C994CF-6194-041A-C08B-CED8653A96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C159B2-4356-ABB9-DE8B-91329D8D8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6A8B92-438F-9FA8-B3ED-70C988CAE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82143-F05B-9A39-262E-782EA424D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6985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02542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36354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6623518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508439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5707590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1991327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0818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008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64681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5519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263293-B242-F900-25E8-6B67F878F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94AFB5-0B69-486F-ECC2-407EC05673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1282D0-B9E8-883E-6B35-BFA7AC5FBB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B9A90A-2613-D133-2ED8-1CD3F7430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0D048B-FA6E-5082-8A39-22E353690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A30678-F7EE-D1F7-25F9-D8AEA8B40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314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387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32534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2216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74937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150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329643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6842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622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9382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06503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61710-AF93-D8B2-F41C-FD7FF3036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24E0AA-4196-FD18-242C-056A173B9D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5D2CBD-4A2C-571B-DA47-237E0C53FE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F94BA5-2384-7286-65A5-3E9C48BE16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8E5E7B-71BA-C592-A223-C5E95D1456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B0E6B30-57C4-D1C9-9AFF-B2A4B08598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E4B065-EF33-F935-FE2D-6ECBD377D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4D9AE4-DE01-C829-F459-3BCE69BEF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855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4653A-E7C0-D82F-2B40-934E43EF1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14DE67-E626-5F27-3FDE-0B4EE2B92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B0AC0A-EC04-4D75-CF2D-35E88C912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57919E-1591-5921-E41F-1BDF98EC9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872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F986C0-DFF7-626B-114C-134D78807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4E14DF-5FE9-B7D4-27E9-334F785D1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125A2C-864E-C178-93D1-F3F4325B6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877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D5894-30CC-1A50-8C83-8F16E66A4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38EEF-1132-4AA8-AF84-9D4123C2E4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C3EBEB-089F-2855-B900-F28D316CF1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A3B35C-FD5B-B2D0-EDD2-4DEE1C19D8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4D04A5-7B9A-1ADB-3764-7BF3AB66F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D1D0F-68E6-1CBC-8BEE-B6A02462F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535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9D648-7A68-58EA-8595-D20CDAF19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A8D2D0-0A15-788C-1292-DBBACA425A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40553-9AF2-0125-67A9-C86848014A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092C70-C0DC-44A0-7860-3CC09DDE5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948AF2-BB0C-EE14-AA4B-370C92D2D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19F48C-BE71-4159-4AC4-6EEF2A416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397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47420D-B112-6341-2034-5D008AD21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8B26F7-A72D-09EF-C61C-51D60E402A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08183D-F659-7F28-C4F8-FCEB3539EF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414EA3C-080B-40E2-8C27-EC48EADF09F9}" type="datetimeFigureOut">
              <a:rPr lang="en-US" smtClean="0"/>
              <a:t>11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BA881F-14AA-01AD-5F16-043E45653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62F57-DB0E-28FA-4A8A-AB87973B9A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F2D593E-A9DA-4A9E-B663-CACB607377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346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>
            <p:custDataLst>
              <p:tags r:id="rId4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7" imgH="348" progId="TCLayout.ActiveDocument.1">
                  <p:embed/>
                </p:oleObj>
              </mc:Choice>
              <mc:Fallback>
                <p:oleObj name="think-cell Slide" r:id="rId42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F82CDDC-18BB-496E-9719-BBB1D296D2FA}" type="slidenum">
              <a:rPr lang="en-US" smtClean="0"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4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927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312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576">
          <p15:clr>
            <a:srgbClr val="9FCC3B"/>
          </p15:clr>
        </p15:guide>
        <p15:guide id="10" orient="horz" pos="888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6D3837-8F6D-86C0-BC1E-EF8F90DD0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19131"/>
            <a:ext cx="11201401" cy="419100"/>
          </a:xfrm>
        </p:spPr>
        <p:txBody>
          <a:bodyPr/>
          <a:lstStyle/>
          <a:p>
            <a:r>
              <a:rPr lang="en-US" dirty="0"/>
              <a:t>TR Mapaero Production Process improv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B790F3-4A67-8C26-F319-D20FE63D5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F94DF394-BEB4-A4C5-A766-D5623C6229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699"/>
            <a:ext cx="11068628" cy="4646495"/>
          </a:xfrm>
        </p:spPr>
        <p:txBody>
          <a:bodyPr vert="horz" lIns="0" tIns="0" rIns="0" bIns="0" rtlCol="0" anchor="t">
            <a:noAutofit/>
          </a:bodyPr>
          <a:lstStyle/>
          <a:p>
            <a:pPr marL="228600" lvl="2" indent="0">
              <a:buNone/>
            </a:pPr>
            <a:r>
              <a:rPr lang="en-US" sz="2400" b="1" dirty="0">
                <a:cs typeface="Arial"/>
              </a:rPr>
              <a:t>Issue</a:t>
            </a:r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dirty="0"/>
              <a:t>Since production introduction of </a:t>
            </a:r>
            <a:r>
              <a:rPr lang="en-US" dirty="0" err="1"/>
              <a:t>MapAero</a:t>
            </a:r>
            <a:r>
              <a:rPr lang="en-US" dirty="0"/>
              <a:t> in 2019: ~ 9% rejection at low hours</a:t>
            </a:r>
          </a:p>
          <a:p>
            <a:pPr marL="727075" lvl="3" indent="-285750">
              <a:buFont typeface="Arial" panose="020B0604020202020204" pitchFamily="34" charset="0"/>
              <a:buChar char="•"/>
            </a:pPr>
            <a:r>
              <a:rPr lang="en-US" sz="1600" dirty="0"/>
              <a:t>Mainly peeling &amp; blistering</a:t>
            </a:r>
          </a:p>
          <a:p>
            <a:pPr marL="228600" lvl="2" indent="0">
              <a:buNone/>
            </a:pPr>
            <a:endParaRPr lang="en-US" sz="1800" dirty="0"/>
          </a:p>
          <a:p>
            <a:pPr marL="228600" lvl="2" indent="0">
              <a:buNone/>
            </a:pPr>
            <a:r>
              <a:rPr lang="en-US" sz="2400" b="1" dirty="0"/>
              <a:t>Investigation &amp; Corrective Actions</a:t>
            </a:r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dirty="0"/>
              <a:t>Process Walk conducted October 2023. Various process improvements identified and implemented by Safran and its sub-tier suppliers</a:t>
            </a:r>
          </a:p>
          <a:p>
            <a:pPr marL="727075" lvl="3" indent="-285750">
              <a:buFont typeface="Arial" panose="020B0604020202020204" pitchFamily="34" charset="0"/>
              <a:buChar char="•"/>
            </a:pPr>
            <a:r>
              <a:rPr lang="en-US" sz="1600" dirty="0"/>
              <a:t>Honeywell / GKN / Safran continue to investigate standardization &amp; process optimization</a:t>
            </a:r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dirty="0"/>
              <a:t>Since process walk, no additional low time removals reported for top-coat peeling </a:t>
            </a:r>
          </a:p>
          <a:p>
            <a:pPr marL="514350" lvl="2" indent="-285750">
              <a:buFont typeface="Arial" panose="020B0604020202020204" pitchFamily="34" charset="0"/>
              <a:buChar char="•"/>
            </a:pPr>
            <a:r>
              <a:rPr lang="en-US" dirty="0"/>
              <a:t>Also, no new reported production </a:t>
            </a:r>
            <a:r>
              <a:rPr lang="en-US" dirty="0" err="1"/>
              <a:t>MapAero</a:t>
            </a:r>
            <a:r>
              <a:rPr lang="en-US" dirty="0"/>
              <a:t> rejections in 2024</a:t>
            </a:r>
          </a:p>
          <a:p>
            <a:pPr marL="228600" lvl="2" indent="0">
              <a:buNone/>
            </a:pPr>
            <a:endParaRPr lang="en-US" sz="18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4EAC44B-5C69-FBAA-C687-0395EBF61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0164"/>
            <a:ext cx="12192000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700" b="0" i="0" u="none" kern="120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oneywell Intern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465051-025F-8082-A19E-90CC573671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5867400"/>
            <a:ext cx="12192000" cy="495299"/>
          </a:xfrm>
        </p:spPr>
        <p:txBody>
          <a:bodyPr/>
          <a:lstStyle/>
          <a:p>
            <a:r>
              <a:rPr lang="en-US" dirty="0">
                <a:cs typeface="Arial"/>
              </a:rPr>
              <a:t>Low Time </a:t>
            </a:r>
            <a:r>
              <a:rPr lang="en-US" dirty="0" err="1">
                <a:cs typeface="Arial"/>
              </a:rPr>
              <a:t>MapAero</a:t>
            </a:r>
            <a:r>
              <a:rPr lang="en-US" dirty="0">
                <a:cs typeface="Arial"/>
              </a:rPr>
              <a:t> Rejections Appear Addressed</a:t>
            </a:r>
          </a:p>
        </p:txBody>
      </p:sp>
    </p:spTree>
    <p:extLst>
      <p:ext uri="{BB962C8B-B14F-4D97-AF65-F5344CB8AC3E}">
        <p14:creationId xmlns:p14="http://schemas.microsoft.com/office/powerpoint/2010/main" val="2324732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F435B-3D89-D567-3B08-EDE1F35B5C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SERVICE REPAIRS</a:t>
            </a:r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F5059A-6AD1-CF77-841D-2F7A2788B5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lvl="1" indent="0">
              <a:buClr>
                <a:srgbClr val="000000"/>
              </a:buClr>
              <a:buNone/>
            </a:pPr>
            <a:r>
              <a:rPr lang="en-US" b="1" dirty="0">
                <a:cs typeface="Arial"/>
              </a:rPr>
              <a:t>Objectives</a:t>
            </a:r>
          </a:p>
          <a:p>
            <a:pPr marL="572770" lvl="1" indent="-342900">
              <a:buClrTx/>
              <a:buFont typeface="Arial"/>
              <a:buChar char="•"/>
            </a:pPr>
            <a:r>
              <a:rPr lang="en-US" sz="2000" dirty="0">
                <a:cs typeface="Arial"/>
              </a:rPr>
              <a:t>Avoid complete strip &amp; re-coat of TR Doors &amp; Beams if not required</a:t>
            </a:r>
          </a:p>
          <a:p>
            <a:pPr marL="872807" lvl="2" indent="-342900">
              <a:buClrTx/>
              <a:buFont typeface="Arial"/>
              <a:buChar char="•"/>
            </a:pPr>
            <a:r>
              <a:rPr lang="en-US" sz="1800" dirty="0">
                <a:cs typeface="Arial"/>
              </a:rPr>
              <a:t>Improve observation identification &amp; data collection</a:t>
            </a:r>
          </a:p>
          <a:p>
            <a:pPr marL="572770" lvl="1" indent="-342900">
              <a:buClrTx/>
              <a:buFont typeface="Arial"/>
              <a:buChar char="•"/>
            </a:pPr>
            <a:r>
              <a:rPr lang="en-US" sz="2000" dirty="0">
                <a:cs typeface="Arial"/>
              </a:rPr>
              <a:t>Provide repair flexibility for the conditions actually experienced</a:t>
            </a:r>
          </a:p>
          <a:p>
            <a:pPr marL="872807" lvl="2" indent="-342900">
              <a:buClrTx/>
              <a:buFont typeface="Arial"/>
              <a:buChar char="•"/>
            </a:pPr>
            <a:r>
              <a:rPr lang="en-US" sz="1600" dirty="0">
                <a:cs typeface="Arial"/>
              </a:rPr>
              <a:t>Top Coat Repair</a:t>
            </a:r>
          </a:p>
          <a:p>
            <a:pPr marL="872807" lvl="2" indent="-342900">
              <a:buClrTx/>
              <a:buFont typeface="Arial"/>
              <a:buChar char="•"/>
            </a:pPr>
            <a:r>
              <a:rPr lang="en-US" sz="1600" dirty="0">
                <a:cs typeface="Arial"/>
              </a:rPr>
              <a:t>Localized bare metal visible / minor corrosion repair</a:t>
            </a:r>
          </a:p>
          <a:p>
            <a:pPr marL="872807" lvl="2" indent="-342900">
              <a:buClrTx/>
              <a:buFont typeface="Arial"/>
              <a:buChar char="•"/>
            </a:pPr>
            <a:r>
              <a:rPr lang="en-US" sz="1600" dirty="0">
                <a:cs typeface="Arial"/>
              </a:rPr>
              <a:t>Make repair options viable in-shop or on-wing</a:t>
            </a:r>
          </a:p>
          <a:p>
            <a:pPr marL="572770" lvl="1" indent="-342900">
              <a:buClrTx/>
              <a:buFont typeface="Arial"/>
              <a:buChar char="•"/>
            </a:pPr>
            <a:r>
              <a:rPr lang="en-US" sz="2000" dirty="0">
                <a:cs typeface="Arial"/>
              </a:rPr>
              <a:t>Eliminate 50-hour fly-on time limitation if possible</a:t>
            </a:r>
          </a:p>
          <a:p>
            <a:pPr marL="229870" lvl="1" indent="0">
              <a:buClr>
                <a:srgbClr val="DC202E"/>
              </a:buClr>
              <a:buNone/>
            </a:pPr>
            <a:endParaRPr lang="en-US" sz="2000" dirty="0">
              <a:cs typeface="Arial"/>
            </a:endParaRPr>
          </a:p>
          <a:p>
            <a:endParaRPr lang="en-US" dirty="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BFF3AD-051B-FFFD-A15B-1B8BF8E33F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Provide Targeted Repair Flexibility – Reduce Operational Impact</a:t>
            </a:r>
          </a:p>
        </p:txBody>
      </p:sp>
    </p:spTree>
    <p:extLst>
      <p:ext uri="{BB962C8B-B14F-4D97-AF65-F5344CB8AC3E}">
        <p14:creationId xmlns:p14="http://schemas.microsoft.com/office/powerpoint/2010/main" val="1420005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1A968-5480-501B-5EEC-57359AC29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950" dirty="0"/>
              <a:t>New Paint Observation recording templ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EF7989-1DD3-7AB6-AC7C-1F79BD907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29870" lvl="1" indent="-229870">
              <a:buClrTx/>
            </a:pPr>
            <a:r>
              <a:rPr lang="en-US" sz="2000" dirty="0"/>
              <a:t>SIL D202308004115 updated to reference  new template ‘HONEYWELL TR COATING OBSERVATION MAPPING AND IMAGES’ to facilitate identification</a:t>
            </a:r>
          </a:p>
          <a:p>
            <a:pPr lvl="2" indent="-245745">
              <a:buClrTx/>
            </a:pPr>
            <a:r>
              <a:rPr lang="en-US" sz="1800" dirty="0">
                <a:cs typeface="Arial"/>
              </a:rPr>
              <a:t>Available in the Portal</a:t>
            </a:r>
          </a:p>
          <a:p>
            <a:pPr lvl="2" indent="-245745">
              <a:buClrTx/>
            </a:pPr>
            <a:r>
              <a:rPr lang="en-US" sz="1800" dirty="0"/>
              <a:t>SPGM 34 revised to align with SIL revision</a:t>
            </a:r>
          </a:p>
          <a:p>
            <a:pPr marL="229870" lvl="1" indent="-229870">
              <a:buClrTx/>
            </a:pPr>
            <a:r>
              <a:rPr lang="en-US" sz="2000" dirty="0"/>
              <a:t>Template in PowerPoint format as previously  successfully used by operators</a:t>
            </a:r>
            <a:endParaRPr lang="en-US" sz="2000" dirty="0">
              <a:cs typeface="Arial"/>
            </a:endParaRPr>
          </a:p>
          <a:p>
            <a:pPr lvl="2" indent="-245745">
              <a:buClrTx/>
            </a:pPr>
            <a:r>
              <a:rPr lang="en-US" sz="1800" dirty="0"/>
              <a:t>Requests level of detail needed to ensure correct repair path is taken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73E500-61D5-B357-8F60-F0D79DB610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cs typeface="Arial"/>
              </a:rPr>
              <a:t>TR </a:t>
            </a:r>
            <a:r>
              <a:rPr lang="en-US" dirty="0">
                <a:cs typeface="Arial"/>
              </a:rPr>
              <a:t>Coating Communication Addressed</a:t>
            </a:r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2C69CFE-22D7-5229-4EDA-160D9914F5E6}"/>
              </a:ext>
            </a:extLst>
          </p:cNvPr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399" y="1814949"/>
            <a:ext cx="5982855" cy="3318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3457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BA60B5-2B1E-CB90-E463-865A50BC3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19812"/>
            <a:ext cx="11201401" cy="419100"/>
          </a:xfrm>
        </p:spPr>
        <p:txBody>
          <a:bodyPr/>
          <a:lstStyle/>
          <a:p>
            <a:r>
              <a:rPr lang="en-US" dirty="0"/>
              <a:t>In-Service Repair – Top Coat Repai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9A2093-B2CD-FDEB-4E91-071578D05C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910663"/>
            <a:ext cx="11201401" cy="5100931"/>
          </a:xfrm>
        </p:spPr>
        <p:txBody>
          <a:bodyPr vert="horz" lIns="0" tIns="0" rIns="0" bIns="0" rtlCol="0" anchor="t">
            <a:noAutofit/>
          </a:bodyPr>
          <a:lstStyle/>
          <a:p>
            <a:pPr indent="-318"/>
            <a:r>
              <a:rPr lang="en-US" dirty="0"/>
              <a:t>Updated Repair Procedure RS-478 Rev H (CH300/CH350/CH3500), RS-554 Rev B (G280), and RS-553 Rev A (Legacy/Praetor)</a:t>
            </a:r>
          </a:p>
          <a:p>
            <a:pPr marL="572770" lvl="1" indent="-342900">
              <a:buClrTx/>
            </a:pPr>
            <a:r>
              <a:rPr lang="en-US" sz="2000" dirty="0"/>
              <a:t>Provides a repair for situations without visible bare metal </a:t>
            </a:r>
          </a:p>
          <a:p>
            <a:pPr marL="872807" lvl="2" indent="-342900">
              <a:buClrTx/>
            </a:pPr>
            <a:r>
              <a:rPr lang="en-US" sz="1600" dirty="0"/>
              <a:t>Primer intact, no corrosion present, only topcoat missing</a:t>
            </a:r>
            <a:endParaRPr lang="en-US" sz="1600" dirty="0">
              <a:cs typeface="Arial"/>
            </a:endParaRPr>
          </a:p>
          <a:p>
            <a:pPr marL="572770" lvl="1" indent="-342900">
              <a:buClrTx/>
            </a:pPr>
            <a:r>
              <a:rPr lang="en-US" sz="2000" dirty="0"/>
              <a:t>Allows for up to 300-hour approved fly-on if the affected area is re-inspected every 50-hours</a:t>
            </a:r>
            <a:endParaRPr lang="en-US" sz="2000" dirty="0">
              <a:cs typeface="Arial"/>
            </a:endParaRPr>
          </a:p>
          <a:p>
            <a:pPr marL="572770" lvl="1" indent="-342900">
              <a:buClrTx/>
            </a:pPr>
            <a:r>
              <a:rPr lang="en-US" sz="2000" dirty="0"/>
              <a:t>The repair can be completed with TR on-wing or removed; using brush or spray methods</a:t>
            </a:r>
          </a:p>
          <a:p>
            <a:pPr marL="572770" lvl="1" indent="-342900">
              <a:buClrTx/>
            </a:pPr>
            <a:endParaRPr lang="en-US" sz="2000" dirty="0">
              <a:cs typeface="Arial"/>
            </a:endParaRPr>
          </a:p>
          <a:p>
            <a:pPr indent="-318"/>
            <a:r>
              <a:rPr lang="en-US" dirty="0">
                <a:cs typeface="Arial"/>
              </a:rPr>
              <a:t>Repair Experience</a:t>
            </a:r>
          </a:p>
          <a:p>
            <a:pPr marL="572770" lvl="1" indent="-342900">
              <a:buClrTx/>
            </a:pPr>
            <a:r>
              <a:rPr lang="en-US" sz="2000" dirty="0">
                <a:cs typeface="Arial"/>
              </a:rPr>
              <a:t>Top-coat repair conducted on pair of G280 TRs in Gulfstream Back shop (Spray)</a:t>
            </a:r>
          </a:p>
          <a:p>
            <a:pPr marL="572770" lvl="1" indent="-342900">
              <a:buClrTx/>
            </a:pPr>
            <a:r>
              <a:rPr lang="en-US" sz="2000" dirty="0">
                <a:cs typeface="Arial"/>
              </a:rPr>
              <a:t>Process conducted successfully</a:t>
            </a:r>
          </a:p>
          <a:p>
            <a:pPr marL="572770" lvl="1" indent="-342900">
              <a:buClrTx/>
            </a:pPr>
            <a:r>
              <a:rPr lang="en-US" sz="2000" dirty="0">
                <a:cs typeface="Arial"/>
              </a:rPr>
              <a:t>Downtime limited to 2 days</a:t>
            </a:r>
          </a:p>
          <a:p>
            <a:pPr marL="572770" lvl="1" indent="-342900">
              <a:buClrTx/>
            </a:pPr>
            <a:r>
              <a:rPr lang="en-US" sz="2000" dirty="0">
                <a:cs typeface="Arial"/>
              </a:rPr>
              <a:t>Positive feedback received from both Gulfstream Shop &amp; Customer</a:t>
            </a:r>
          </a:p>
          <a:p>
            <a:pPr marL="572770" lvl="1" indent="-342900">
              <a:buClrTx/>
            </a:pPr>
            <a:endParaRPr lang="en-US" sz="2000" dirty="0">
              <a:cs typeface="Arial"/>
            </a:endParaRPr>
          </a:p>
          <a:p>
            <a:endParaRPr lang="en-US" sz="2000" dirty="0">
              <a:cs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96B99E-2C09-E91F-4763-D24A3C8483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6020831"/>
            <a:ext cx="12192000" cy="495299"/>
          </a:xfrm>
        </p:spPr>
        <p:txBody>
          <a:bodyPr/>
          <a:lstStyle/>
          <a:p>
            <a:r>
              <a:rPr lang="en-US" sz="2400" dirty="0">
                <a:cs typeface="Arial"/>
              </a:rPr>
              <a:t>Downtime Reduction Addressed</a:t>
            </a:r>
          </a:p>
        </p:txBody>
      </p:sp>
    </p:spTree>
    <p:extLst>
      <p:ext uri="{BB962C8B-B14F-4D97-AF65-F5344CB8AC3E}">
        <p14:creationId xmlns:p14="http://schemas.microsoft.com/office/powerpoint/2010/main" val="418355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A3EE77E-4397-1E8D-350A-A4E70CB4B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Service Repair – Bare metal visible  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79325D4-5E75-A6B0-4A47-AA61BC4B32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New Repair Procedure In Development: RS-705 (CH300/CH350), RS-702 (G280), RS-706 (Legacy/Praetor) </a:t>
            </a:r>
          </a:p>
          <a:p>
            <a:pPr marL="572770" lvl="1" indent="-342900">
              <a:buClrTx/>
            </a:pPr>
            <a:r>
              <a:rPr lang="en-US" sz="2000" dirty="0"/>
              <a:t>Will allow small areas of bare metal including minor corrosion to be addressed with localized repair procedure for primer &amp; topcoat  </a:t>
            </a:r>
            <a:endParaRPr lang="en-US" sz="2000" dirty="0">
              <a:cs typeface="Arial"/>
            </a:endParaRPr>
          </a:p>
          <a:p>
            <a:pPr marL="572770" lvl="1" indent="-342900">
              <a:buClrTx/>
            </a:pPr>
            <a:r>
              <a:rPr lang="en-US" sz="2000" dirty="0"/>
              <a:t>The repair to be able to be completed with TR on-wing or removed; using brush or spray methods</a:t>
            </a:r>
          </a:p>
          <a:p>
            <a:pPr marL="572770" lvl="1" indent="-342900">
              <a:buClrTx/>
            </a:pPr>
            <a:r>
              <a:rPr lang="en-US" sz="2000" dirty="0"/>
              <a:t>No limitation on number of repairs, provided base material min thickness observed</a:t>
            </a:r>
            <a:endParaRPr lang="en-US" sz="2000" dirty="0">
              <a:cs typeface="Arial"/>
            </a:endParaRPr>
          </a:p>
          <a:p>
            <a:pPr marL="572770" lvl="1" indent="-342900">
              <a:buClrTx/>
            </a:pPr>
            <a:r>
              <a:rPr lang="en-US" sz="2000" dirty="0">
                <a:sym typeface="Wingdings" panose="05000000000000000000" pitchFamily="2" charset="2"/>
              </a:rPr>
              <a:t>Evaluating fly-on/periodic inspection prior to utilization of the repair scheme</a:t>
            </a:r>
          </a:p>
          <a:p>
            <a:pPr marL="572770" lvl="1" indent="-342900">
              <a:buClrTx/>
            </a:pPr>
            <a:r>
              <a:rPr lang="en-US" sz="2000" dirty="0">
                <a:sym typeface="Wingdings" panose="05000000000000000000" pitchFamily="2" charset="2"/>
              </a:rPr>
              <a:t>Estimated release: EOY 2024</a:t>
            </a:r>
            <a:endParaRPr lang="en-US" sz="2000" dirty="0">
              <a:cs typeface="Arial"/>
            </a:endParaRPr>
          </a:p>
          <a:p>
            <a:endParaRPr lang="en-US" sz="500" dirty="0"/>
          </a:p>
          <a:p>
            <a:endParaRPr lang="en-US" sz="20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D7FDAF-09B7-DFAA-D6D3-5752037039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losing the Loop on Repair Options</a:t>
            </a:r>
          </a:p>
        </p:txBody>
      </p:sp>
    </p:spTree>
    <p:extLst>
      <p:ext uri="{BB962C8B-B14F-4D97-AF65-F5344CB8AC3E}">
        <p14:creationId xmlns:p14="http://schemas.microsoft.com/office/powerpoint/2010/main" val="208339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DAE05828-7D1B-A5A2-D0D9-169C6D5CD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-Service Repairs – GTV Flow Chart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F5DC50-3AF9-6BCD-5767-BD6F2346E6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lvl="1" indent="0">
              <a:buClrTx/>
              <a:buNone/>
            </a:pPr>
            <a:r>
              <a:rPr lang="en-US" sz="2000" b="1" dirty="0"/>
              <a:t>  </a:t>
            </a:r>
            <a:r>
              <a:rPr lang="en-US" b="1" dirty="0"/>
              <a:t>Revised Fly-On Criteria</a:t>
            </a:r>
            <a:endParaRPr lang="en-US" b="1" dirty="0">
              <a:cs typeface="Arial"/>
            </a:endParaRPr>
          </a:p>
          <a:p>
            <a:pPr marL="572770" lvl="1" indent="-342900">
              <a:buClrTx/>
            </a:pPr>
            <a:r>
              <a:rPr lang="en-US" sz="2000" dirty="0"/>
              <a:t>Generic Technical Variances (GTVs) have been driving the 50-hour fly-on time limitation prior to conduct of full strip and re-coat repair</a:t>
            </a:r>
          </a:p>
          <a:p>
            <a:pPr marL="872807" lvl="2" indent="-342900">
              <a:buClrTx/>
            </a:pPr>
            <a:r>
              <a:rPr lang="en-US" sz="1600" dirty="0">
                <a:cs typeface="Arial"/>
              </a:rPr>
              <a:t>CH300/CH350/CH3500: GKN-GTV-18386</a:t>
            </a:r>
          </a:p>
          <a:p>
            <a:pPr marL="872807" lvl="2" indent="-342900">
              <a:buClrTx/>
            </a:pPr>
            <a:r>
              <a:rPr lang="en-US" sz="1600" dirty="0">
                <a:cs typeface="Arial"/>
              </a:rPr>
              <a:t>G280: GTV-1367651</a:t>
            </a:r>
          </a:p>
          <a:p>
            <a:pPr marL="872807" lvl="2" indent="-342900">
              <a:buClrTx/>
            </a:pPr>
            <a:r>
              <a:rPr lang="en-US" sz="1600" dirty="0">
                <a:cs typeface="Arial"/>
              </a:rPr>
              <a:t>Legacy/Praetor: GKN-GTV-19182</a:t>
            </a:r>
          </a:p>
          <a:p>
            <a:pPr marL="529907" lvl="2" indent="0">
              <a:buClrTx/>
              <a:buNone/>
            </a:pPr>
            <a:endParaRPr lang="en-US" sz="400" dirty="0">
              <a:cs typeface="Arial"/>
            </a:endParaRPr>
          </a:p>
          <a:p>
            <a:pPr marL="573088" lvl="1" indent="-342900">
              <a:buClrTx/>
            </a:pPr>
            <a:r>
              <a:rPr lang="en-US" sz="2200" dirty="0"/>
              <a:t>Updated the flow chart in the GTV so that it no longer depends on quantity of repairs (currently limited to 2) so that longer fly-on periods are available</a:t>
            </a:r>
          </a:p>
          <a:p>
            <a:pPr lvl="1" indent="0">
              <a:buClrTx/>
              <a:buNone/>
            </a:pPr>
            <a:endParaRPr lang="en-US" sz="400" dirty="0">
              <a:sym typeface="Wingdings" panose="05000000000000000000" pitchFamily="2" charset="2"/>
            </a:endParaRPr>
          </a:p>
          <a:p>
            <a:pPr marL="573088" lvl="1" indent="-342900">
              <a:buClrTx/>
            </a:pPr>
            <a:r>
              <a:rPr lang="en-US" sz="2200" dirty="0">
                <a:sym typeface="Wingdings" panose="05000000000000000000" pitchFamily="2" charset="2"/>
              </a:rPr>
              <a:t>GTV Revisions releas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ABA8F6-8505-F00B-A52F-E69A56E4A34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creased Flexibility to Fly-On Extensions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C6CF8F75-A2A1-0810-372F-366D0A392EDE}"/>
              </a:ext>
            </a:extLst>
          </p:cNvPr>
          <p:cNvSpPr txBox="1">
            <a:spLocks/>
          </p:cNvSpPr>
          <p:nvPr/>
        </p:nvSpPr>
        <p:spPr>
          <a:xfrm>
            <a:off x="-1" y="5867400"/>
            <a:ext cx="12192000" cy="4952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666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E4397C9-FDB5-4971-BD35-BD65A04147CB}"/>
</file>

<file path=customXml/itemProps2.xml><?xml version="1.0" encoding="utf-8"?>
<ds:datastoreItem xmlns:ds="http://schemas.openxmlformats.org/officeDocument/2006/customXml" ds:itemID="{4FA57C89-44D3-4CC0-B040-13E5D5D0BB53}"/>
</file>

<file path=customXml/itemProps3.xml><?xml version="1.0" encoding="utf-8"?>
<ds:datastoreItem xmlns:ds="http://schemas.openxmlformats.org/officeDocument/2006/customXml" ds:itemID="{AD34FC2E-F26F-4BEC-88C9-356D2E09B57C}"/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3</TotalTime>
  <Words>529</Words>
  <Application>Microsoft Office PowerPoint</Application>
  <PresentationFormat>Widescreen</PresentationFormat>
  <Paragraphs>63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ptos</vt:lpstr>
      <vt:lpstr>Aptos Display</vt:lpstr>
      <vt:lpstr>Arial</vt:lpstr>
      <vt:lpstr>Arial Black</vt:lpstr>
      <vt:lpstr>Calibri</vt:lpstr>
      <vt:lpstr>Wingdings</vt:lpstr>
      <vt:lpstr>Office Theme</vt:lpstr>
      <vt:lpstr>1_Honeywell 2019</vt:lpstr>
      <vt:lpstr>think-cell Slide</vt:lpstr>
      <vt:lpstr>TR Mapaero Production Process improvements</vt:lpstr>
      <vt:lpstr>IN-SERVICE REPAIRS </vt:lpstr>
      <vt:lpstr>New Paint Observation recording template</vt:lpstr>
      <vt:lpstr>In-Service Repair – Top Coat Repair</vt:lpstr>
      <vt:lpstr>In-Service Repair – Bare metal visible   </vt:lpstr>
      <vt:lpstr>In-Service Repairs – GTV Flow Chart Upd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umore, Frank</dc:creator>
  <cp:lastModifiedBy>Rumore, Frank</cp:lastModifiedBy>
  <cp:revision>4</cp:revision>
  <dcterms:created xsi:type="dcterms:W3CDTF">2024-11-01T21:19:01Z</dcterms:created>
  <dcterms:modified xsi:type="dcterms:W3CDTF">2024-11-01T22:0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</Properties>
</file>